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7" r:id="rId1"/>
  </p:sldMasterIdLst>
  <p:notesMasterIdLst>
    <p:notesMasterId r:id="rId5"/>
  </p:notesMasterIdLst>
  <p:sldIdLst>
    <p:sldId id="324" r:id="rId2"/>
    <p:sldId id="326" r:id="rId3"/>
    <p:sldId id="325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10">
          <p15:clr>
            <a:srgbClr val="A4A3A4"/>
          </p15:clr>
        </p15:guide>
        <p15:guide id="4" orient="horz" pos="3774">
          <p15:clr>
            <a:srgbClr val="A4A3A4"/>
          </p15:clr>
        </p15:guide>
        <p15:guide id="5" orient="horz" pos="1111">
          <p15:clr>
            <a:srgbClr val="A4A3A4"/>
          </p15:clr>
        </p15:guide>
        <p15:guide id="6" orient="horz" pos="387">
          <p15:clr>
            <a:srgbClr val="A4A3A4"/>
          </p15:clr>
        </p15:guide>
        <p15:guide id="7" orient="horz" pos="2386">
          <p15:clr>
            <a:srgbClr val="A4A3A4"/>
          </p15:clr>
        </p15:guide>
        <p15:guide id="8" orient="horz" pos="2501">
          <p15:clr>
            <a:srgbClr val="A4A3A4"/>
          </p15:clr>
        </p15:guide>
        <p15:guide id="9" orient="horz" pos="4163">
          <p15:clr>
            <a:srgbClr val="A4A3A4"/>
          </p15:clr>
        </p15:guide>
        <p15:guide id="10" pos="307">
          <p15:clr>
            <a:srgbClr val="A4A3A4"/>
          </p15:clr>
        </p15:guide>
        <p15:guide id="11" pos="7371">
          <p15:clr>
            <a:srgbClr val="A4A3A4"/>
          </p15:clr>
        </p15:guide>
        <p15:guide id="12" pos="2541">
          <p15:clr>
            <a:srgbClr val="A4A3A4"/>
          </p15:clr>
        </p15:guide>
        <p15:guide id="13" pos="2721">
          <p15:clr>
            <a:srgbClr val="A4A3A4"/>
          </p15:clr>
        </p15:guide>
        <p15:guide id="14" pos="3749">
          <p15:clr>
            <a:srgbClr val="A4A3A4"/>
          </p15:clr>
        </p15:guide>
        <p15:guide id="15" pos="3930">
          <p15:clr>
            <a:srgbClr val="A4A3A4"/>
          </p15:clr>
        </p15:guide>
        <p15:guide id="16" pos="4957">
          <p15:clr>
            <a:srgbClr val="A4A3A4"/>
          </p15:clr>
        </p15:guide>
        <p15:guide id="17" pos="5138">
          <p15:clr>
            <a:srgbClr val="A4A3A4"/>
          </p15:clr>
        </p15:guide>
        <p15:guide id="18" pos="1937">
          <p15:clr>
            <a:srgbClr val="A4A3A4"/>
          </p15:clr>
        </p15:guide>
        <p15:guide id="19" pos="2137">
          <p15:clr>
            <a:srgbClr val="A4A3A4"/>
          </p15:clr>
        </p15:guide>
        <p15:guide id="20" pos="5560">
          <p15:clr>
            <a:srgbClr val="A4A3A4"/>
          </p15:clr>
        </p15:guide>
        <p15:guide id="21" pos="57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1794"/>
    <a:srgbClr val="A75700"/>
    <a:srgbClr val="D9BD00"/>
    <a:srgbClr val="B34922"/>
    <a:srgbClr val="B39122"/>
    <a:srgbClr val="2A23B5"/>
    <a:srgbClr val="71D37A"/>
    <a:srgbClr val="2C9FD1"/>
    <a:srgbClr val="6699FF"/>
    <a:srgbClr val="F8D14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92058" autoAdjust="0"/>
  </p:normalViewPr>
  <p:slideViewPr>
    <p:cSldViewPr snapToGrid="0" showGuides="1">
      <p:cViewPr>
        <p:scale>
          <a:sx n="66" d="100"/>
          <a:sy n="66" d="100"/>
        </p:scale>
        <p:origin x="1800" y="768"/>
      </p:cViewPr>
      <p:guideLst>
        <p:guide orient="horz" pos="2160"/>
        <p:guide pos="3840"/>
        <p:guide orient="horz" pos="410"/>
        <p:guide orient="horz" pos="3774"/>
        <p:guide orient="horz" pos="1111"/>
        <p:guide orient="horz" pos="387"/>
        <p:guide orient="horz" pos="2386"/>
        <p:guide orient="horz" pos="2501"/>
        <p:guide orient="horz" pos="4163"/>
        <p:guide pos="307"/>
        <p:guide pos="7371"/>
        <p:guide pos="2541"/>
        <p:guide pos="2721"/>
        <p:guide pos="3749"/>
        <p:guide pos="3930"/>
        <p:guide pos="4957"/>
        <p:guide pos="5138"/>
        <p:guide pos="1937"/>
        <p:guide pos="2137"/>
        <p:guide pos="5560"/>
        <p:guide pos="5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375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7912" y="4715153"/>
            <a:ext cx="6023956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EDD50B2-3575-48C8-825A-CBD30BEF7BB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487363" y="313618"/>
            <a:ext cx="6184409" cy="4638504"/>
            <a:chOff x="487854" y="440703"/>
            <a:chExt cx="6184409" cy="4638504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101" y="440703"/>
              <a:ext cx="5794162" cy="463850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854" y="872437"/>
              <a:ext cx="720000" cy="717632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6508800"/>
            <a:ext cx="1171532" cy="1047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184910" y="1652269"/>
            <a:ext cx="5127353" cy="1770063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03967" y="3571558"/>
            <a:ext cx="5108296" cy="271462"/>
          </a:xfrm>
        </p:spPr>
        <p:txBody>
          <a:bodyPr anchor="b" anchorCtr="0"/>
          <a:lstStyle>
            <a:lvl1pPr marL="0" indent="0" algn="l">
              <a:buNone/>
              <a:defRPr sz="1800" b="1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insert nam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00726" y="3869718"/>
            <a:ext cx="5111537" cy="3448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insert date</a:t>
            </a:r>
          </a:p>
        </p:txBody>
      </p:sp>
    </p:spTree>
    <p:extLst>
      <p:ext uri="{BB962C8B-B14F-4D97-AF65-F5344CB8AC3E}">
        <p14:creationId xmlns:p14="http://schemas.microsoft.com/office/powerpoint/2010/main" val="850803159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7363" y="1763713"/>
            <a:ext cx="5464175" cy="422751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8875" y="1763713"/>
            <a:ext cx="5465763" cy="4227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10428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3" y="1763713"/>
            <a:ext cx="7381875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8156575" y="1763713"/>
            <a:ext cx="3546000" cy="42275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56914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7385050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3546475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8153400" y="1763713"/>
            <a:ext cx="3545999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3"/>
            <a:ext cx="5464175" cy="2024062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487364" y="3967468"/>
            <a:ext cx="5464174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2"/>
            <a:ext cx="5464800" cy="2023757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238875" y="3967469"/>
            <a:ext cx="5464800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627174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36391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4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9115425" y="1763713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0818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4" y="1763712"/>
            <a:ext cx="3546474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487362" y="3970337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35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4319588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19588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22" hasCustomPrompt="1"/>
          </p:nvPr>
        </p:nvSpPr>
        <p:spPr>
          <a:xfrm>
            <a:off x="8156575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8156575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836531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3400" y="604838"/>
            <a:ext cx="355489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1739899"/>
            <a:ext cx="35460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7869239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303521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4" y="604838"/>
            <a:ext cx="5469421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8875" y="1739899"/>
            <a:ext cx="54648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9515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9741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2034" y="604838"/>
            <a:ext cx="7389430" cy="86323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319588" y="1739899"/>
            <a:ext cx="7381875" cy="42513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0338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7715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2" y="1763713"/>
            <a:ext cx="8339137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9077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4824777"/>
            <a:ext cx="8339137" cy="1166447"/>
          </a:xfrm>
        </p:spPr>
        <p:txBody>
          <a:bodyPr/>
          <a:lstStyle>
            <a:lvl1pPr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001" cy="4680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5981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60538"/>
            <a:ext cx="12192000" cy="4230687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995028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628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541565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7272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09079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6628221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836327200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533166676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9785088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363" y="1764000"/>
            <a:ext cx="11217275" cy="424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hart or table, use layout named “Title and text” for slides with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363" y="2912985"/>
            <a:ext cx="8628061" cy="3009900"/>
          </a:xfrm>
        </p:spPr>
        <p:txBody>
          <a:bodyPr/>
          <a:lstStyle>
            <a:lvl1pPr>
              <a:lnSpc>
                <a:spcPct val="93000"/>
              </a:lnSpc>
              <a:defRPr sz="3600" b="1">
                <a:solidFill>
                  <a:schemeClr val="bg1"/>
                </a:solidFill>
              </a:defRPr>
            </a:lvl1pPr>
            <a:lvl2pPr marL="259200" indent="-259200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Char char="―"/>
              <a:defRPr sz="1600" b="0">
                <a:solidFill>
                  <a:schemeClr val="bg1"/>
                </a:solidFill>
              </a:defRPr>
            </a:lvl2pPr>
            <a:lvl3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3pPr>
            <a:lvl4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4pPr>
            <a:lvl5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37944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23036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172284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34498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129187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16020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08430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42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1" y="0"/>
            <a:ext cx="12187238" cy="6858000"/>
            <a:chOff x="2" y="0"/>
            <a:chExt cx="7675" cy="4320"/>
          </a:xfrm>
        </p:grpSpPr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2" y="0"/>
              <a:ext cx="7675" cy="4320"/>
            </a:xfrm>
            <a:prstGeom prst="rect">
              <a:avLst/>
            </a:prstGeom>
            <a:solidFill>
              <a:srgbClr val="DBDD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229" y="0"/>
              <a:ext cx="7448" cy="4320"/>
            </a:xfrm>
            <a:custGeom>
              <a:avLst/>
              <a:gdLst>
                <a:gd name="T0" fmla="*/ 0 w 7448"/>
                <a:gd name="T1" fmla="*/ 340 h 4320"/>
                <a:gd name="T2" fmla="*/ 0 w 7448"/>
                <a:gd name="T3" fmla="*/ 4320 h 4320"/>
                <a:gd name="T4" fmla="*/ 7448 w 7448"/>
                <a:gd name="T5" fmla="*/ 4320 h 4320"/>
                <a:gd name="T6" fmla="*/ 7448 w 7448"/>
                <a:gd name="T7" fmla="*/ 0 h 4320"/>
                <a:gd name="T8" fmla="*/ 0 w 7448"/>
                <a:gd name="T9" fmla="*/ 34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8" h="4320">
                  <a:moveTo>
                    <a:pt x="0" y="340"/>
                  </a:moveTo>
                  <a:lnTo>
                    <a:pt x="0" y="4320"/>
                  </a:lnTo>
                  <a:lnTo>
                    <a:pt x="7448" y="4320"/>
                  </a:lnTo>
                  <a:lnTo>
                    <a:pt x="7448" y="0"/>
                  </a:lnTo>
                  <a:lnTo>
                    <a:pt x="0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" y="113"/>
              <a:ext cx="453" cy="454"/>
            </a:xfrm>
            <a:custGeom>
              <a:avLst/>
              <a:gdLst>
                <a:gd name="T0" fmla="*/ 0 w 453"/>
                <a:gd name="T1" fmla="*/ 0 h 454"/>
                <a:gd name="T2" fmla="*/ 0 w 453"/>
                <a:gd name="T3" fmla="*/ 454 h 454"/>
                <a:gd name="T4" fmla="*/ 453 w 453"/>
                <a:gd name="T5" fmla="*/ 392 h 454"/>
                <a:gd name="T6" fmla="*/ 453 w 453"/>
                <a:gd name="T7" fmla="*/ 62 h 454"/>
                <a:gd name="T8" fmla="*/ 0 w 453"/>
                <a:gd name="T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454">
                  <a:moveTo>
                    <a:pt x="0" y="0"/>
                  </a:moveTo>
                  <a:lnTo>
                    <a:pt x="0" y="454"/>
                  </a:lnTo>
                  <a:lnTo>
                    <a:pt x="453" y="392"/>
                  </a:lnTo>
                  <a:lnTo>
                    <a:pt x="453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722313" y="6238800"/>
            <a:ext cx="10978007" cy="434959"/>
            <a:chOff x="722313" y="6238800"/>
            <a:chExt cx="10978007" cy="434959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313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23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810815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9368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1" cy="434959"/>
            <a:chOff x="504000" y="6238800"/>
            <a:chExt cx="11196321" cy="434959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1" cy="434959"/>
            </a:xfrm>
            <a:prstGeom prst="rect">
              <a:avLst/>
            </a:prstGeom>
          </p:spPr>
        </p:pic>
      </p:grp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02916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0" cy="434959"/>
            <a:chOff x="504000" y="6238800"/>
            <a:chExt cx="11196320" cy="43495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25912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DBDD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3" y="1763713"/>
            <a:ext cx="8339137" cy="4431604"/>
          </a:xfrm>
        </p:spPr>
        <p:txBody>
          <a:bodyPr/>
          <a:lstStyle>
            <a:lvl1pPr>
              <a:lnSpc>
                <a:spcPct val="83000"/>
              </a:lnSpc>
              <a:spcBef>
                <a:spcPts val="1800"/>
              </a:spcBef>
              <a:buNone/>
              <a:defRPr/>
            </a:lvl1pPr>
            <a:lvl2pPr>
              <a:lnSpc>
                <a:spcPct val="83000"/>
              </a:lnSpc>
              <a:spcAft>
                <a:spcPts val="0"/>
              </a:spcAft>
              <a:defRPr/>
            </a:lvl2pPr>
            <a:lvl3pPr>
              <a:lnSpc>
                <a:spcPct val="83000"/>
              </a:lnSpc>
              <a:spcAft>
                <a:spcPts val="0"/>
              </a:spcAft>
              <a:defRPr/>
            </a:lvl3pPr>
            <a:lvl4pPr>
              <a:lnSpc>
                <a:spcPct val="83000"/>
              </a:lnSpc>
              <a:spcAft>
                <a:spcPts val="0"/>
              </a:spcAft>
              <a:defRPr/>
            </a:lvl4pPr>
            <a:lvl5pPr>
              <a:lnSpc>
                <a:spcPct val="83000"/>
              </a:lnSpc>
              <a:spcAft>
                <a:spcPts val="0"/>
              </a:spcAft>
              <a:defRPr/>
            </a:lvl5pPr>
            <a:lvl6pPr>
              <a:lnSpc>
                <a:spcPct val="83000"/>
              </a:lnSpc>
              <a:spcAft>
                <a:spcPts val="0"/>
              </a:spcAft>
              <a:defRPr/>
            </a:lvl6pPr>
            <a:lvl7pPr>
              <a:lnSpc>
                <a:spcPct val="83000"/>
              </a:lnSpc>
              <a:spcAft>
                <a:spcPts val="0"/>
              </a:spcAft>
              <a:defRPr/>
            </a:lvl7pPr>
            <a:lvl8pPr>
              <a:lnSpc>
                <a:spcPct val="83000"/>
              </a:lnSpc>
              <a:spcAft>
                <a:spcPts val="0"/>
              </a:spcAft>
              <a:defRPr/>
            </a:lvl8pPr>
            <a:lvl9pPr>
              <a:lnSpc>
                <a:spcPct val="83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443904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53469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0" y="0"/>
            <a:ext cx="12193200" cy="6859588"/>
            <a:chOff x="0" y="0"/>
            <a:chExt cx="12193200" cy="6859588"/>
          </a:xfrm>
        </p:grpSpPr>
        <p:sp>
          <p:nvSpPr>
            <p:cNvPr id="11" name="Background color"/>
            <p:cNvSpPr/>
            <p:nvPr userDrawn="1"/>
          </p:nvSpPr>
          <p:spPr>
            <a:xfrm>
              <a:off x="0" y="0"/>
              <a:ext cx="12193200" cy="6858000"/>
            </a:xfrm>
            <a:prstGeom prst="rect">
              <a:avLst/>
            </a:prstGeom>
            <a:solidFill>
              <a:srgbClr val="967F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2" name="Supergraphic shape"/>
            <p:cNvGrpSpPr>
              <a:grpSpLocks noChangeAspect="1"/>
            </p:cNvGrpSpPr>
            <p:nvPr userDrawn="1"/>
          </p:nvGrpSpPr>
          <p:grpSpPr bwMode="auto">
            <a:xfrm>
              <a:off x="1588" y="0"/>
              <a:ext cx="12188825" cy="6859588"/>
              <a:chOff x="1" y="0"/>
              <a:chExt cx="7678" cy="4321"/>
            </a:xfrm>
            <a:solidFill>
              <a:srgbClr val="DBDDDB"/>
            </a:solidFill>
          </p:grpSpPr>
          <p:sp>
            <p:nvSpPr>
              <p:cNvPr id="13" name="Freeform 5"/>
              <p:cNvSpPr>
                <a:spLocks/>
              </p:cNvSpPr>
              <p:nvPr userDrawn="1"/>
            </p:nvSpPr>
            <p:spPr bwMode="auto">
              <a:xfrm>
                <a:off x="6611" y="766"/>
                <a:ext cx="347" cy="352"/>
              </a:xfrm>
              <a:custGeom>
                <a:avLst/>
                <a:gdLst>
                  <a:gd name="T0" fmla="*/ 138 w 277"/>
                  <a:gd name="T1" fmla="*/ 281 h 281"/>
                  <a:gd name="T2" fmla="*/ 277 w 277"/>
                  <a:gd name="T3" fmla="*/ 145 h 281"/>
                  <a:gd name="T4" fmla="*/ 141 w 277"/>
                  <a:gd name="T5" fmla="*/ 0 h 281"/>
                  <a:gd name="T6" fmla="*/ 0 w 277"/>
                  <a:gd name="T7" fmla="*/ 137 h 281"/>
                  <a:gd name="T8" fmla="*/ 138 w 277"/>
                  <a:gd name="T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7" h="281">
                    <a:moveTo>
                      <a:pt x="138" y="281"/>
                    </a:moveTo>
                    <a:cubicBezTo>
                      <a:pt x="156" y="264"/>
                      <a:pt x="252" y="169"/>
                      <a:pt x="277" y="145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40" y="2"/>
                      <a:pt x="20" y="119"/>
                      <a:pt x="0" y="137"/>
                    </a:cubicBezTo>
                    <a:cubicBezTo>
                      <a:pt x="28" y="165"/>
                      <a:pt x="109" y="251"/>
                      <a:pt x="138" y="28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6"/>
              <p:cNvSpPr>
                <a:spLocks/>
              </p:cNvSpPr>
              <p:nvPr userDrawn="1"/>
            </p:nvSpPr>
            <p:spPr bwMode="auto">
              <a:xfrm>
                <a:off x="6871" y="0"/>
                <a:ext cx="808" cy="864"/>
              </a:xfrm>
              <a:custGeom>
                <a:avLst/>
                <a:gdLst>
                  <a:gd name="T0" fmla="*/ 504 w 646"/>
                  <a:gd name="T1" fmla="*/ 0 h 691"/>
                  <a:gd name="T2" fmla="*/ 0 w 646"/>
                  <a:gd name="T3" fmla="*/ 550 h 691"/>
                  <a:gd name="T4" fmla="*/ 137 w 646"/>
                  <a:gd name="T5" fmla="*/ 691 h 691"/>
                  <a:gd name="T6" fmla="*/ 614 w 646"/>
                  <a:gd name="T7" fmla="*/ 315 h 691"/>
                  <a:gd name="T8" fmla="*/ 646 w 646"/>
                  <a:gd name="T9" fmla="*/ 297 h 691"/>
                  <a:gd name="T10" fmla="*/ 646 w 646"/>
                  <a:gd name="T11" fmla="*/ 0 h 691"/>
                  <a:gd name="T12" fmla="*/ 504 w 646"/>
                  <a:gd name="T13" fmla="*/ 0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691">
                    <a:moveTo>
                      <a:pt x="504" y="0"/>
                    </a:moveTo>
                    <a:cubicBezTo>
                      <a:pt x="398" y="175"/>
                      <a:pt x="221" y="345"/>
                      <a:pt x="0" y="550"/>
                    </a:cubicBezTo>
                    <a:cubicBezTo>
                      <a:pt x="27" y="579"/>
                      <a:pt x="116" y="670"/>
                      <a:pt x="137" y="691"/>
                    </a:cubicBezTo>
                    <a:cubicBezTo>
                      <a:pt x="295" y="548"/>
                      <a:pt x="427" y="427"/>
                      <a:pt x="614" y="315"/>
                    </a:cubicBezTo>
                    <a:cubicBezTo>
                      <a:pt x="625" y="309"/>
                      <a:pt x="635" y="303"/>
                      <a:pt x="646" y="297"/>
                    </a:cubicBezTo>
                    <a:cubicBezTo>
                      <a:pt x="646" y="0"/>
                      <a:pt x="646" y="0"/>
                      <a:pt x="646" y="0"/>
                    </a:cubicBez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7"/>
              <p:cNvSpPr>
                <a:spLocks/>
              </p:cNvSpPr>
              <p:nvPr userDrawn="1"/>
            </p:nvSpPr>
            <p:spPr bwMode="auto">
              <a:xfrm>
                <a:off x="6308" y="0"/>
                <a:ext cx="1032" cy="598"/>
              </a:xfrm>
              <a:custGeom>
                <a:avLst/>
                <a:gdLst>
                  <a:gd name="T0" fmla="*/ 826 w 826"/>
                  <a:gd name="T1" fmla="*/ 0 h 478"/>
                  <a:gd name="T2" fmla="*/ 0 w 826"/>
                  <a:gd name="T3" fmla="*/ 0 h 478"/>
                  <a:gd name="T4" fmla="*/ 383 w 826"/>
                  <a:gd name="T5" fmla="*/ 478 h 478"/>
                  <a:gd name="T6" fmla="*/ 826 w 826"/>
                  <a:gd name="T7" fmla="*/ 0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6" h="478">
                    <a:moveTo>
                      <a:pt x="8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15" y="196"/>
                      <a:pt x="284" y="371"/>
                      <a:pt x="383" y="478"/>
                    </a:cubicBezTo>
                    <a:cubicBezTo>
                      <a:pt x="486" y="368"/>
                      <a:pt x="695" y="202"/>
                      <a:pt x="826" y="0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8"/>
              <p:cNvSpPr>
                <a:spLocks/>
              </p:cNvSpPr>
              <p:nvPr userDrawn="1"/>
            </p:nvSpPr>
            <p:spPr bwMode="auto">
              <a:xfrm>
                <a:off x="7101" y="493"/>
                <a:ext cx="578" cy="942"/>
              </a:xfrm>
              <a:custGeom>
                <a:avLst/>
                <a:gdLst>
                  <a:gd name="T0" fmla="*/ 462 w 462"/>
                  <a:gd name="T1" fmla="*/ 754 h 754"/>
                  <a:gd name="T2" fmla="*/ 462 w 462"/>
                  <a:gd name="T3" fmla="*/ 0 h 754"/>
                  <a:gd name="T4" fmla="*/ 0 w 462"/>
                  <a:gd name="T5" fmla="*/ 346 h 754"/>
                  <a:gd name="T6" fmla="*/ 462 w 462"/>
                  <a:gd name="T7" fmla="*/ 754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2" h="754">
                    <a:moveTo>
                      <a:pt x="462" y="754"/>
                    </a:moveTo>
                    <a:cubicBezTo>
                      <a:pt x="462" y="0"/>
                      <a:pt x="462" y="0"/>
                      <a:pt x="462" y="0"/>
                    </a:cubicBezTo>
                    <a:cubicBezTo>
                      <a:pt x="298" y="96"/>
                      <a:pt x="173" y="190"/>
                      <a:pt x="0" y="346"/>
                    </a:cubicBezTo>
                    <a:cubicBezTo>
                      <a:pt x="162" y="494"/>
                      <a:pt x="306" y="645"/>
                      <a:pt x="462" y="754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9"/>
              <p:cNvSpPr>
                <a:spLocks/>
              </p:cNvSpPr>
              <p:nvPr userDrawn="1"/>
            </p:nvSpPr>
            <p:spPr bwMode="auto">
              <a:xfrm>
                <a:off x="1" y="0"/>
                <a:ext cx="7678" cy="4321"/>
              </a:xfrm>
              <a:custGeom>
                <a:avLst/>
                <a:gdLst>
                  <a:gd name="T0" fmla="*/ 5610 w 6143"/>
                  <a:gd name="T1" fmla="*/ 801 h 3456"/>
                  <a:gd name="T2" fmla="*/ 5469 w 6143"/>
                  <a:gd name="T3" fmla="*/ 937 h 3456"/>
                  <a:gd name="T4" fmla="*/ 6088 w 6143"/>
                  <a:gd name="T5" fmla="*/ 1853 h 3456"/>
                  <a:gd name="T6" fmla="*/ 5767 w 6143"/>
                  <a:gd name="T7" fmla="*/ 2092 h 3456"/>
                  <a:gd name="T8" fmla="*/ 5888 w 6143"/>
                  <a:gd name="T9" fmla="*/ 2060 h 3456"/>
                  <a:gd name="T10" fmla="*/ 5992 w 6143"/>
                  <a:gd name="T11" fmla="*/ 1913 h 3456"/>
                  <a:gd name="T12" fmla="*/ 5760 w 6143"/>
                  <a:gd name="T13" fmla="*/ 1425 h 3456"/>
                  <a:gd name="T14" fmla="*/ 5393 w 6143"/>
                  <a:gd name="T15" fmla="*/ 1008 h 3456"/>
                  <a:gd name="T16" fmla="*/ 4946 w 6143"/>
                  <a:gd name="T17" fmla="*/ 1544 h 3456"/>
                  <a:gd name="T18" fmla="*/ 4847 w 6143"/>
                  <a:gd name="T19" fmla="*/ 1829 h 3456"/>
                  <a:gd name="T20" fmla="*/ 4930 w 6143"/>
                  <a:gd name="T21" fmla="*/ 2027 h 3456"/>
                  <a:gd name="T22" fmla="*/ 5115 w 6143"/>
                  <a:gd name="T23" fmla="*/ 2092 h 3456"/>
                  <a:gd name="T24" fmla="*/ 4896 w 6143"/>
                  <a:gd name="T25" fmla="*/ 2035 h 3456"/>
                  <a:gd name="T26" fmla="*/ 4802 w 6143"/>
                  <a:gd name="T27" fmla="*/ 1811 h 3456"/>
                  <a:gd name="T28" fmla="*/ 4939 w 6143"/>
                  <a:gd name="T29" fmla="*/ 1458 h 3456"/>
                  <a:gd name="T30" fmla="*/ 5349 w 6143"/>
                  <a:gd name="T31" fmla="*/ 969 h 3456"/>
                  <a:gd name="T32" fmla="*/ 5204 w 6143"/>
                  <a:gd name="T33" fmla="*/ 829 h 3456"/>
                  <a:gd name="T34" fmla="*/ 5148 w 6143"/>
                  <a:gd name="T35" fmla="*/ 879 h 3456"/>
                  <a:gd name="T36" fmla="*/ 4784 w 6143"/>
                  <a:gd name="T37" fmla="*/ 1153 h 3456"/>
                  <a:gd name="T38" fmla="*/ 4276 w 6143"/>
                  <a:gd name="T39" fmla="*/ 1348 h 3456"/>
                  <a:gd name="T40" fmla="*/ 4013 w 6143"/>
                  <a:gd name="T41" fmla="*/ 1236 h 3456"/>
                  <a:gd name="T42" fmla="*/ 3965 w 6143"/>
                  <a:gd name="T43" fmla="*/ 1039 h 3456"/>
                  <a:gd name="T44" fmla="*/ 4037 w 6143"/>
                  <a:gd name="T45" fmla="*/ 1201 h 3456"/>
                  <a:gd name="T46" fmla="*/ 4332 w 6143"/>
                  <a:gd name="T47" fmla="*/ 1271 h 3456"/>
                  <a:gd name="T48" fmla="*/ 4677 w 6143"/>
                  <a:gd name="T49" fmla="*/ 1128 h 3456"/>
                  <a:gd name="T50" fmla="*/ 4940 w 6143"/>
                  <a:gd name="T51" fmla="*/ 948 h 3456"/>
                  <a:gd name="T52" fmla="*/ 5098 w 6143"/>
                  <a:gd name="T53" fmla="*/ 811 h 3456"/>
                  <a:gd name="T54" fmla="*/ 5140 w 6143"/>
                  <a:gd name="T55" fmla="*/ 770 h 3456"/>
                  <a:gd name="T56" fmla="*/ 4615 w 6143"/>
                  <a:gd name="T57" fmla="*/ 298 h 3456"/>
                  <a:gd name="T58" fmla="*/ 4185 w 6143"/>
                  <a:gd name="T59" fmla="*/ 143 h 3456"/>
                  <a:gd name="T60" fmla="*/ 3965 w 6143"/>
                  <a:gd name="T61" fmla="*/ 356 h 3456"/>
                  <a:gd name="T62" fmla="*/ 4215 w 6143"/>
                  <a:gd name="T63" fmla="*/ 94 h 3456"/>
                  <a:gd name="T64" fmla="*/ 4646 w 6143"/>
                  <a:gd name="T65" fmla="*/ 220 h 3456"/>
                  <a:gd name="T66" fmla="*/ 4986 w 6143"/>
                  <a:gd name="T67" fmla="*/ 472 h 3456"/>
                  <a:gd name="T68" fmla="*/ 5225 w 6143"/>
                  <a:gd name="T69" fmla="*/ 686 h 3456"/>
                  <a:gd name="T70" fmla="*/ 5362 w 6143"/>
                  <a:gd name="T71" fmla="*/ 549 h 3456"/>
                  <a:gd name="T72" fmla="*/ 4929 w 6143"/>
                  <a:gd name="T73" fmla="*/ 0 h 3456"/>
                  <a:gd name="T74" fmla="*/ 0 w 6143"/>
                  <a:gd name="T75" fmla="*/ 0 h 3456"/>
                  <a:gd name="T76" fmla="*/ 0 w 6143"/>
                  <a:gd name="T77" fmla="*/ 3456 h 3456"/>
                  <a:gd name="T78" fmla="*/ 6143 w 6143"/>
                  <a:gd name="T79" fmla="*/ 3456 h 3456"/>
                  <a:gd name="T80" fmla="*/ 6143 w 6143"/>
                  <a:gd name="T81" fmla="*/ 1266 h 3456"/>
                  <a:gd name="T82" fmla="*/ 5610 w 6143"/>
                  <a:gd name="T83" fmla="*/ 801 h 3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143" h="3456">
                    <a:moveTo>
                      <a:pt x="5610" y="801"/>
                    </a:moveTo>
                    <a:cubicBezTo>
                      <a:pt x="5469" y="937"/>
                      <a:pt x="5469" y="937"/>
                      <a:pt x="5469" y="937"/>
                    </a:cubicBezTo>
                    <a:cubicBezTo>
                      <a:pt x="5920" y="1381"/>
                      <a:pt x="6088" y="1657"/>
                      <a:pt x="6088" y="1853"/>
                    </a:cubicBezTo>
                    <a:cubicBezTo>
                      <a:pt x="6088" y="1901"/>
                      <a:pt x="6085" y="2092"/>
                      <a:pt x="5767" y="2092"/>
                    </a:cubicBezTo>
                    <a:cubicBezTo>
                      <a:pt x="5800" y="2084"/>
                      <a:pt x="5832" y="2090"/>
                      <a:pt x="5888" y="2060"/>
                    </a:cubicBezTo>
                    <a:cubicBezTo>
                      <a:pt x="5945" y="2032"/>
                      <a:pt x="5981" y="1965"/>
                      <a:pt x="5992" y="1913"/>
                    </a:cubicBezTo>
                    <a:cubicBezTo>
                      <a:pt x="6018" y="1795"/>
                      <a:pt x="5905" y="1618"/>
                      <a:pt x="5760" y="1425"/>
                    </a:cubicBezTo>
                    <a:cubicBezTo>
                      <a:pt x="5650" y="1279"/>
                      <a:pt x="5436" y="1050"/>
                      <a:pt x="5393" y="1008"/>
                    </a:cubicBezTo>
                    <a:cubicBezTo>
                      <a:pt x="5148" y="1246"/>
                      <a:pt x="4998" y="1451"/>
                      <a:pt x="4946" y="1544"/>
                    </a:cubicBezTo>
                    <a:cubicBezTo>
                      <a:pt x="4895" y="1637"/>
                      <a:pt x="4847" y="1710"/>
                      <a:pt x="4847" y="1829"/>
                    </a:cubicBezTo>
                    <a:cubicBezTo>
                      <a:pt x="4847" y="1910"/>
                      <a:pt x="4884" y="1987"/>
                      <a:pt x="4930" y="2027"/>
                    </a:cubicBezTo>
                    <a:cubicBezTo>
                      <a:pt x="4977" y="2069"/>
                      <a:pt x="5052" y="2081"/>
                      <a:pt x="5115" y="2092"/>
                    </a:cubicBezTo>
                    <a:cubicBezTo>
                      <a:pt x="5039" y="2092"/>
                      <a:pt x="4948" y="2074"/>
                      <a:pt x="4896" y="2035"/>
                    </a:cubicBezTo>
                    <a:cubicBezTo>
                      <a:pt x="4848" y="1999"/>
                      <a:pt x="4802" y="1916"/>
                      <a:pt x="4802" y="1811"/>
                    </a:cubicBezTo>
                    <a:cubicBezTo>
                      <a:pt x="4802" y="1685"/>
                      <a:pt x="4869" y="1567"/>
                      <a:pt x="4939" y="1458"/>
                    </a:cubicBezTo>
                    <a:cubicBezTo>
                      <a:pt x="4995" y="1368"/>
                      <a:pt x="5111" y="1206"/>
                      <a:pt x="5349" y="969"/>
                    </a:cubicBezTo>
                    <a:cubicBezTo>
                      <a:pt x="5318" y="938"/>
                      <a:pt x="5232" y="857"/>
                      <a:pt x="5204" y="829"/>
                    </a:cubicBezTo>
                    <a:cubicBezTo>
                      <a:pt x="5171" y="858"/>
                      <a:pt x="5181" y="850"/>
                      <a:pt x="5148" y="879"/>
                    </a:cubicBezTo>
                    <a:cubicBezTo>
                      <a:pt x="5011" y="999"/>
                      <a:pt x="4941" y="1055"/>
                      <a:pt x="4784" y="1153"/>
                    </a:cubicBezTo>
                    <a:cubicBezTo>
                      <a:pt x="4711" y="1199"/>
                      <a:pt x="4477" y="1348"/>
                      <a:pt x="4276" y="1348"/>
                    </a:cubicBezTo>
                    <a:cubicBezTo>
                      <a:pt x="4100" y="1348"/>
                      <a:pt x="4055" y="1288"/>
                      <a:pt x="4013" y="1236"/>
                    </a:cubicBezTo>
                    <a:cubicBezTo>
                      <a:pt x="3970" y="1185"/>
                      <a:pt x="3965" y="1103"/>
                      <a:pt x="3965" y="1039"/>
                    </a:cubicBezTo>
                    <a:cubicBezTo>
                      <a:pt x="3976" y="1086"/>
                      <a:pt x="3974" y="1126"/>
                      <a:pt x="4037" y="1201"/>
                    </a:cubicBezTo>
                    <a:cubicBezTo>
                      <a:pt x="4092" y="1266"/>
                      <a:pt x="4220" y="1293"/>
                      <a:pt x="4332" y="1271"/>
                    </a:cubicBezTo>
                    <a:cubicBezTo>
                      <a:pt x="4445" y="1250"/>
                      <a:pt x="4570" y="1186"/>
                      <a:pt x="4677" y="1128"/>
                    </a:cubicBezTo>
                    <a:cubicBezTo>
                      <a:pt x="4783" y="1069"/>
                      <a:pt x="4869" y="1005"/>
                      <a:pt x="4940" y="948"/>
                    </a:cubicBezTo>
                    <a:cubicBezTo>
                      <a:pt x="5011" y="892"/>
                      <a:pt x="5028" y="873"/>
                      <a:pt x="5098" y="811"/>
                    </a:cubicBezTo>
                    <a:cubicBezTo>
                      <a:pt x="5122" y="790"/>
                      <a:pt x="5116" y="792"/>
                      <a:pt x="5140" y="770"/>
                    </a:cubicBezTo>
                    <a:cubicBezTo>
                      <a:pt x="4969" y="596"/>
                      <a:pt x="4773" y="400"/>
                      <a:pt x="4615" y="298"/>
                    </a:cubicBezTo>
                    <a:cubicBezTo>
                      <a:pt x="4456" y="196"/>
                      <a:pt x="4370" y="143"/>
                      <a:pt x="4185" y="143"/>
                    </a:cubicBezTo>
                    <a:cubicBezTo>
                      <a:pt x="4020" y="143"/>
                      <a:pt x="3965" y="356"/>
                      <a:pt x="3965" y="356"/>
                    </a:cubicBezTo>
                    <a:cubicBezTo>
                      <a:pt x="3965" y="192"/>
                      <a:pt x="4082" y="94"/>
                      <a:pt x="4215" y="94"/>
                    </a:cubicBezTo>
                    <a:cubicBezTo>
                      <a:pt x="4391" y="94"/>
                      <a:pt x="4525" y="147"/>
                      <a:pt x="4646" y="220"/>
                    </a:cubicBezTo>
                    <a:cubicBezTo>
                      <a:pt x="4742" y="277"/>
                      <a:pt x="4899" y="397"/>
                      <a:pt x="4986" y="472"/>
                    </a:cubicBezTo>
                    <a:cubicBezTo>
                      <a:pt x="5094" y="565"/>
                      <a:pt x="5225" y="686"/>
                      <a:pt x="5225" y="686"/>
                    </a:cubicBezTo>
                    <a:cubicBezTo>
                      <a:pt x="5245" y="667"/>
                      <a:pt x="5362" y="549"/>
                      <a:pt x="5362" y="549"/>
                    </a:cubicBezTo>
                    <a:cubicBezTo>
                      <a:pt x="5215" y="398"/>
                      <a:pt x="5043" y="199"/>
                      <a:pt x="49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56"/>
                      <a:pt x="0" y="3456"/>
                      <a:pt x="0" y="3456"/>
                    </a:cubicBezTo>
                    <a:cubicBezTo>
                      <a:pt x="6143" y="3456"/>
                      <a:pt x="6143" y="3456"/>
                      <a:pt x="6143" y="3456"/>
                    </a:cubicBezTo>
                    <a:cubicBezTo>
                      <a:pt x="6143" y="1266"/>
                      <a:pt x="6143" y="1266"/>
                      <a:pt x="6143" y="1266"/>
                    </a:cubicBezTo>
                    <a:cubicBezTo>
                      <a:pt x="5975" y="1159"/>
                      <a:pt x="5805" y="1000"/>
                      <a:pt x="5610" y="80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40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48973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4" imgW="353" imgH="353" progId="TCLayout.ActiveDocument.1">
                  <p:embed/>
                </p:oleObj>
              </mc:Choice>
              <mc:Fallback>
                <p:oleObj name="think-cell Slide" r:id="rId44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361" y="1763713"/>
            <a:ext cx="11217600" cy="4227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16238" y="225427"/>
            <a:ext cx="2584141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8724" y="6508841"/>
            <a:ext cx="6857340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363" y="6508841"/>
            <a:ext cx="516119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39" r:id="rId2"/>
    <p:sldLayoutId id="2147483840" r:id="rId3"/>
    <p:sldLayoutId id="2147483887" r:id="rId4"/>
    <p:sldLayoutId id="2147483888" r:id="rId5"/>
    <p:sldLayoutId id="2147483889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  <p:sldLayoutId id="2147483862" r:id="rId26"/>
    <p:sldLayoutId id="2147483863" r:id="rId27"/>
    <p:sldLayoutId id="2147483864" r:id="rId28"/>
    <p:sldLayoutId id="2147483865" r:id="rId29"/>
    <p:sldLayoutId id="2147483866" r:id="rId30"/>
    <p:sldLayoutId id="2147483867" r:id="rId31"/>
    <p:sldLayoutId id="2147483868" r:id="rId32"/>
    <p:sldLayoutId id="2147483869" r:id="rId33"/>
    <p:sldLayoutId id="2147483870" r:id="rId34"/>
    <p:sldLayoutId id="2147483871" r:id="rId35"/>
    <p:sldLayoutId id="2147483872" r:id="rId36"/>
    <p:sldLayoutId id="2147483873" r:id="rId37"/>
    <p:sldLayoutId id="2147483874" r:id="rId38"/>
    <p:sldLayoutId id="2147483875" r:id="rId39"/>
    <p:sldLayoutId id="2147483876" r:id="rId40"/>
  </p:sldLayoutIdLst>
  <p:hf sldNum="0" hdr="0" ftr="0" dt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​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90800" indent="-19080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780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C, Validation and Inferenc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Feature Extrac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1D5D17E-6155-428D-85AE-28D06814684C}"/>
              </a:ext>
            </a:extLst>
          </p:cNvPr>
          <p:cNvGrpSpPr/>
          <p:nvPr/>
        </p:nvGrpSpPr>
        <p:grpSpPr>
          <a:xfrm>
            <a:off x="6519515" y="1938476"/>
            <a:ext cx="279138" cy="3221565"/>
            <a:chOff x="6519515" y="1938477"/>
            <a:chExt cx="279138" cy="2292002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80E5D74D-E998-43CE-8EB1-4C9E0F8B459C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8DFD955-724E-4DC2-A0C4-555B4A44DCD6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1066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C, Validation and Inferenc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Feature Extraction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 w="57150">
              <a:solidFill>
                <a:srgbClr val="2C9F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354D039-9C32-43A2-9392-913BC216A103}"/>
              </a:ext>
            </a:extLst>
          </p:cNvPr>
          <p:cNvGrpSpPr/>
          <p:nvPr/>
        </p:nvGrpSpPr>
        <p:grpSpPr>
          <a:xfrm>
            <a:off x="6519515" y="1938476"/>
            <a:ext cx="279138" cy="3221565"/>
            <a:chOff x="6519515" y="1938477"/>
            <a:chExt cx="279138" cy="2292002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DE57AFA5-6E98-43BE-A5D3-9D9CE5777101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08C7463-D90A-403A-B92C-ADB9C05A87AC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2560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Arrow: Bent 14">
            <a:extLst>
              <a:ext uri="{FF2B5EF4-FFF2-40B4-BE49-F238E27FC236}">
                <a16:creationId xmlns:a16="http://schemas.microsoft.com/office/drawing/2014/main" id="{D96ED481-D610-4749-8555-15C9FD366159}"/>
              </a:ext>
            </a:extLst>
          </p:cNvPr>
          <p:cNvSpPr/>
          <p:nvPr/>
        </p:nvSpPr>
        <p:spPr>
          <a:xfrm rot="5400000">
            <a:off x="-227193" y="2352682"/>
            <a:ext cx="4392462" cy="2171662"/>
          </a:xfrm>
          <a:prstGeom prst="bentArrow">
            <a:avLst>
              <a:gd name="adj1" fmla="val 10277"/>
              <a:gd name="adj2" fmla="val 9038"/>
              <a:gd name="adj3" fmla="val 9444"/>
              <a:gd name="adj4" fmla="val 43750"/>
            </a:avLst>
          </a:prstGeom>
          <a:solidFill>
            <a:srgbClr val="A757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F692F3F-D527-491E-B480-DD55D8A4F299}"/>
              </a:ext>
            </a:extLst>
          </p:cNvPr>
          <p:cNvSpPr/>
          <p:nvPr/>
        </p:nvSpPr>
        <p:spPr>
          <a:xfrm>
            <a:off x="408989" y="90312"/>
            <a:ext cx="10309168" cy="6377650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8D5A450-F67B-496E-8B00-2D9F554E6220}"/>
              </a:ext>
            </a:extLst>
          </p:cNvPr>
          <p:cNvSpPr/>
          <p:nvPr/>
        </p:nvSpPr>
        <p:spPr>
          <a:xfrm>
            <a:off x="736959" y="808218"/>
            <a:ext cx="1345223" cy="1099039"/>
          </a:xfrm>
          <a:prstGeom prst="roundRect">
            <a:avLst/>
          </a:prstGeom>
          <a:solidFill>
            <a:srgbClr val="D9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.RAW fil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1965BF3-4993-4D9D-A44F-C9EF5ECBD135}"/>
              </a:ext>
            </a:extLst>
          </p:cNvPr>
          <p:cNvSpPr/>
          <p:nvPr/>
        </p:nvSpPr>
        <p:spPr>
          <a:xfrm>
            <a:off x="1323828" y="2047935"/>
            <a:ext cx="3326422" cy="597600"/>
          </a:xfrm>
          <a:prstGeom prst="roundRect">
            <a:avLst/>
          </a:prstGeom>
          <a:solidFill>
            <a:srgbClr val="091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Open format conversion (MGF)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756DF75-B295-4063-B804-7078E3CA2E31}"/>
              </a:ext>
            </a:extLst>
          </p:cNvPr>
          <p:cNvSpPr/>
          <p:nvPr/>
        </p:nvSpPr>
        <p:spPr>
          <a:xfrm>
            <a:off x="1323828" y="2960870"/>
            <a:ext cx="3326422" cy="597600"/>
          </a:xfrm>
          <a:prstGeom prst="roundRect">
            <a:avLst/>
          </a:prstGeom>
          <a:solidFill>
            <a:srgbClr val="091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Peptide to Spectrum matching (PSM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7DD93A6-7BEB-48FA-97C4-48A25770CB6A}"/>
              </a:ext>
            </a:extLst>
          </p:cNvPr>
          <p:cNvSpPr/>
          <p:nvPr/>
        </p:nvSpPr>
        <p:spPr>
          <a:xfrm>
            <a:off x="1323828" y="3873805"/>
            <a:ext cx="3326422" cy="597600"/>
          </a:xfrm>
          <a:prstGeom prst="roundRect">
            <a:avLst/>
          </a:prstGeom>
          <a:solidFill>
            <a:srgbClr val="091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QC, Validation and Inferenc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832371-63C7-474E-8E2C-0878EBB76199}"/>
              </a:ext>
            </a:extLst>
          </p:cNvPr>
          <p:cNvSpPr/>
          <p:nvPr/>
        </p:nvSpPr>
        <p:spPr>
          <a:xfrm>
            <a:off x="1323828" y="4786740"/>
            <a:ext cx="3326422" cy="597600"/>
          </a:xfrm>
          <a:prstGeom prst="roundRect">
            <a:avLst/>
          </a:prstGeom>
          <a:solidFill>
            <a:srgbClr val="091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Feature extractio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18AB81A-5908-4C89-8838-5940125BC5EB}"/>
              </a:ext>
            </a:extLst>
          </p:cNvPr>
          <p:cNvSpPr/>
          <p:nvPr/>
        </p:nvSpPr>
        <p:spPr>
          <a:xfrm>
            <a:off x="1323828" y="5623474"/>
            <a:ext cx="3326422" cy="597600"/>
          </a:xfrm>
          <a:prstGeom prst="roundRect">
            <a:avLst/>
          </a:prstGeom>
          <a:solidFill>
            <a:srgbClr val="0917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Protein quantifi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8162B1-C00C-4088-BB6E-14FF684603B9}"/>
              </a:ext>
            </a:extLst>
          </p:cNvPr>
          <p:cNvSpPr txBox="1"/>
          <p:nvPr/>
        </p:nvSpPr>
        <p:spPr>
          <a:xfrm>
            <a:off x="2027409" y="321730"/>
            <a:ext cx="2493694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US" sz="2800" dirty="0"/>
              <a:t>Computational analysi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5363A8-0E0B-4E88-8D7A-565DBA99DA80}"/>
              </a:ext>
            </a:extLst>
          </p:cNvPr>
          <p:cNvGrpSpPr/>
          <p:nvPr/>
        </p:nvGrpSpPr>
        <p:grpSpPr>
          <a:xfrm>
            <a:off x="1044690" y="1908408"/>
            <a:ext cx="279137" cy="3128736"/>
            <a:chOff x="6519515" y="1938477"/>
            <a:chExt cx="279138" cy="2292002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EC146FA1-E058-4024-982F-05942913781F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45F8391-67AE-46FF-9F1F-483E5A512E90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A23CFCE-2E25-460F-AC96-90603EB7C269}"/>
              </a:ext>
            </a:extLst>
          </p:cNvPr>
          <p:cNvSpPr txBox="1"/>
          <p:nvPr/>
        </p:nvSpPr>
        <p:spPr>
          <a:xfrm>
            <a:off x="7293643" y="2047935"/>
            <a:ext cx="33352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err="1">
                <a:solidFill>
                  <a:srgbClr val="091794"/>
                </a:solidFill>
              </a:rPr>
              <a:t>ThermoRawFileParser</a:t>
            </a:r>
            <a:endParaRPr lang="en-US" sz="2400" b="1" dirty="0">
              <a:solidFill>
                <a:srgbClr val="091794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3EA48A-E0F7-4DF1-94E6-EDE890F01C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9387" y="2124416"/>
            <a:ext cx="361929" cy="43044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C0B2D5E-055F-4FEE-B9C7-EA7BD9D72D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357" y="3030320"/>
            <a:ext cx="361929" cy="43044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9C0F197C-2393-4D64-97F7-712454EF24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357" y="3976086"/>
            <a:ext cx="361929" cy="43044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E03FCB1-49F2-4769-BAA8-C086704CAE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357" y="4870829"/>
            <a:ext cx="361929" cy="43044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1378495-D719-434D-8DE7-075531EE99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357" y="5743024"/>
            <a:ext cx="361929" cy="43044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A7B23AB-E0D4-4415-8CCE-F234EE5ED58E}"/>
              </a:ext>
            </a:extLst>
          </p:cNvPr>
          <p:cNvSpPr txBox="1"/>
          <p:nvPr/>
        </p:nvSpPr>
        <p:spPr>
          <a:xfrm>
            <a:off x="7293643" y="3076616"/>
            <a:ext cx="3335280" cy="358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7000"/>
              </a:lnSpc>
            </a:pPr>
            <a:r>
              <a:rPr lang="en-US" sz="2400" b="1" dirty="0" err="1">
                <a:solidFill>
                  <a:srgbClr val="091794"/>
                </a:solidFill>
              </a:rPr>
              <a:t>SearchGUI</a:t>
            </a:r>
            <a:endParaRPr lang="en-US" sz="2400" b="1" dirty="0">
              <a:solidFill>
                <a:srgbClr val="091794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2006EA5-9CD9-400D-BAD6-1041641E6D93}"/>
              </a:ext>
            </a:extLst>
          </p:cNvPr>
          <p:cNvSpPr txBox="1"/>
          <p:nvPr/>
        </p:nvSpPr>
        <p:spPr>
          <a:xfrm>
            <a:off x="7293643" y="4048295"/>
            <a:ext cx="3335280" cy="358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7000"/>
              </a:lnSpc>
            </a:pPr>
            <a:r>
              <a:rPr lang="en-US" sz="2400" b="1" dirty="0" err="1">
                <a:solidFill>
                  <a:srgbClr val="091794"/>
                </a:solidFill>
              </a:rPr>
              <a:t>peptideShaker</a:t>
            </a:r>
            <a:endParaRPr lang="en-US" sz="2400" b="1" dirty="0">
              <a:solidFill>
                <a:srgbClr val="091794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2A27788-4456-48D6-A740-F9CE2B355B82}"/>
              </a:ext>
            </a:extLst>
          </p:cNvPr>
          <p:cNvSpPr txBox="1"/>
          <p:nvPr/>
        </p:nvSpPr>
        <p:spPr>
          <a:xfrm>
            <a:off x="7293643" y="4943038"/>
            <a:ext cx="3335280" cy="358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7000"/>
              </a:lnSpc>
            </a:pPr>
            <a:r>
              <a:rPr lang="en-US" sz="2400" b="1" dirty="0" err="1">
                <a:solidFill>
                  <a:srgbClr val="091794"/>
                </a:solidFill>
              </a:rPr>
              <a:t>moFF</a:t>
            </a:r>
            <a:endParaRPr lang="en-US" sz="2400" b="1" dirty="0">
              <a:solidFill>
                <a:srgbClr val="091794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862142B-9DA3-439B-B43C-C7C551455E8B}"/>
              </a:ext>
            </a:extLst>
          </p:cNvPr>
          <p:cNvSpPr txBox="1"/>
          <p:nvPr/>
        </p:nvSpPr>
        <p:spPr>
          <a:xfrm>
            <a:off x="7293642" y="5815233"/>
            <a:ext cx="1527007" cy="358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7000"/>
              </a:lnSpc>
            </a:pPr>
            <a:r>
              <a:rPr lang="en-US" sz="2400" b="1" dirty="0" err="1">
                <a:solidFill>
                  <a:srgbClr val="091794"/>
                </a:solidFill>
              </a:rPr>
              <a:t>MSqRob</a:t>
            </a:r>
            <a:endParaRPr lang="en-US" sz="2400" b="1" dirty="0">
              <a:solidFill>
                <a:srgbClr val="091794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3BA9C91-3C24-4F3F-85DA-826C82BD9F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4359" y="4696179"/>
            <a:ext cx="778721" cy="77872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9BF883A7-7693-4AB1-ABA2-5451CF3817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1" y="5743024"/>
            <a:ext cx="555418" cy="43044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CE4E55D-BE43-4D5B-933D-6FF68006AF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757" y="3808554"/>
            <a:ext cx="597981" cy="59798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F4789DF-379C-42A0-A5C1-817B191635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757" y="2881976"/>
            <a:ext cx="597981" cy="59798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3433B79-8A68-47B1-899D-45F33DB7E4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312" y="2047935"/>
            <a:ext cx="434816" cy="55936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BE6E19BC-308E-49C7-8061-81B20A9C4A16}"/>
              </a:ext>
            </a:extLst>
          </p:cNvPr>
          <p:cNvSpPr txBox="1"/>
          <p:nvPr/>
        </p:nvSpPr>
        <p:spPr>
          <a:xfrm>
            <a:off x="4650250" y="1373023"/>
            <a:ext cx="937549" cy="417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US" sz="2800" b="1" dirty="0"/>
              <a:t>O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8C601F8-CD8F-4D16-B435-15AE4763A939}"/>
              </a:ext>
            </a:extLst>
          </p:cNvPr>
          <p:cNvSpPr txBox="1"/>
          <p:nvPr/>
        </p:nvSpPr>
        <p:spPr>
          <a:xfrm>
            <a:off x="5606578" y="955088"/>
            <a:ext cx="1641752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US" sz="2800" b="1" dirty="0"/>
              <a:t>Main Platform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68B9C72-CDA3-45A0-BB0A-5C3577791F63}"/>
              </a:ext>
            </a:extLst>
          </p:cNvPr>
          <p:cNvSpPr txBox="1"/>
          <p:nvPr/>
        </p:nvSpPr>
        <p:spPr>
          <a:xfrm>
            <a:off x="7721273" y="955088"/>
            <a:ext cx="1641752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US" sz="2800" b="1" dirty="0"/>
              <a:t>Program Name</a:t>
            </a:r>
          </a:p>
        </p:txBody>
      </p:sp>
    </p:spTree>
    <p:extLst>
      <p:ext uri="{BB962C8B-B14F-4D97-AF65-F5344CB8AC3E}">
        <p14:creationId xmlns:p14="http://schemas.microsoft.com/office/powerpoint/2010/main" val="718426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lk\AppData\Local\SkabelonDesign\AddIns\CacheImage\API\Skyfish\26749305_1600px.jpg"/>
</p:tagLst>
</file>

<file path=ppt/theme/theme1.xml><?xml version="1.0" encoding="utf-8"?>
<a:theme xmlns:a="http://schemas.openxmlformats.org/drawingml/2006/main" name="4_Blank">
  <a:themeElements>
    <a:clrScheme name="Novozymes">
      <a:dk1>
        <a:srgbClr val="2D0028"/>
      </a:dk1>
      <a:lt1>
        <a:srgbClr val="FFFFFF"/>
      </a:lt1>
      <a:dk2>
        <a:srgbClr val="545F54"/>
      </a:dk2>
      <a:lt2>
        <a:srgbClr val="DBDDDB"/>
      </a:lt2>
      <a:accent1>
        <a:srgbClr val="C5DA00"/>
      </a:accent1>
      <a:accent2>
        <a:srgbClr val="2D0028"/>
      </a:accent2>
      <a:accent3>
        <a:srgbClr val="A0C8F0"/>
      </a:accent3>
      <a:accent4>
        <a:srgbClr val="7C1839"/>
      </a:accent4>
      <a:accent5>
        <a:srgbClr val="9BA08C"/>
      </a:accent5>
      <a:accent6>
        <a:srgbClr val="892D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C5DA00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7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2D002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7000"/>
          </a:lnSpc>
          <a:defRPr dirty="0" err="1" smtClean="0"/>
        </a:defPPr>
      </a:lstStyle>
    </a:txDef>
  </a:objectDefaults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  <a:extLst>
    <a:ext uri="{05A4C25C-085E-4340-85A3-A5531E510DB2}">
      <thm15:themeFamily xmlns:thm15="http://schemas.microsoft.com/office/thememl/2012/main" name="Blank.potx" id="{65368A20-8113-4D3A-BA49-07021F5670DA}" vid="{D7CA6D76-C613-4358-A30A-D592EEDC0B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</TotalTime>
  <Words>119</Words>
  <Application>Microsoft Office PowerPoint</Application>
  <PresentationFormat>Widescreen</PresentationFormat>
  <Paragraphs>3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4_Blank</vt:lpstr>
      <vt:lpstr>think-cell Slide</vt:lpstr>
      <vt:lpstr>PowerPoint Presentation</vt:lpstr>
      <vt:lpstr>PowerPoint Presentation</vt:lpstr>
      <vt:lpstr>PowerPoint Presentation</vt:lpstr>
    </vt:vector>
  </TitlesOfParts>
  <Company>Novozym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onio Ortega Jiménez</dc:creator>
  <cp:lastModifiedBy>AOJ (Antonio Ortega Jiménez)</cp:lastModifiedBy>
  <cp:revision>12</cp:revision>
  <dcterms:created xsi:type="dcterms:W3CDTF">2018-07-03T11:09:35Z</dcterms:created>
  <dcterms:modified xsi:type="dcterms:W3CDTF">2018-07-23T08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